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7"/>
  </p:notesMasterIdLst>
  <p:handoutMasterIdLst>
    <p:handoutMasterId r:id="rId48"/>
  </p:handoutMasterIdLst>
  <p:sldIdLst>
    <p:sldId id="289" r:id="rId2"/>
    <p:sldId id="293" r:id="rId3"/>
    <p:sldId id="342" r:id="rId4"/>
    <p:sldId id="361" r:id="rId5"/>
    <p:sldId id="357" r:id="rId6"/>
    <p:sldId id="366" r:id="rId7"/>
    <p:sldId id="347" r:id="rId8"/>
    <p:sldId id="355" r:id="rId9"/>
    <p:sldId id="352" r:id="rId10"/>
    <p:sldId id="363" r:id="rId11"/>
    <p:sldId id="341" r:id="rId12"/>
    <p:sldId id="370" r:id="rId13"/>
    <p:sldId id="353" r:id="rId14"/>
    <p:sldId id="350" r:id="rId15"/>
    <p:sldId id="348" r:id="rId16"/>
    <p:sldId id="344" r:id="rId17"/>
    <p:sldId id="368" r:id="rId18"/>
    <p:sldId id="371" r:id="rId19"/>
    <p:sldId id="343" r:id="rId20"/>
    <p:sldId id="377" r:id="rId21"/>
    <p:sldId id="356" r:id="rId22"/>
    <p:sldId id="378" r:id="rId23"/>
    <p:sldId id="373" r:id="rId24"/>
    <p:sldId id="375" r:id="rId25"/>
    <p:sldId id="365" r:id="rId26"/>
    <p:sldId id="358" r:id="rId27"/>
    <p:sldId id="372" r:id="rId28"/>
    <p:sldId id="362" r:id="rId29"/>
    <p:sldId id="349" r:id="rId30"/>
    <p:sldId id="374" r:id="rId31"/>
    <p:sldId id="369" r:id="rId32"/>
    <p:sldId id="354" r:id="rId33"/>
    <p:sldId id="360" r:id="rId34"/>
    <p:sldId id="340" r:id="rId35"/>
    <p:sldId id="367" r:id="rId36"/>
    <p:sldId id="379" r:id="rId37"/>
    <p:sldId id="345" r:id="rId38"/>
    <p:sldId id="359" r:id="rId39"/>
    <p:sldId id="364" r:id="rId40"/>
    <p:sldId id="376" r:id="rId41"/>
    <p:sldId id="346" r:id="rId42"/>
    <p:sldId id="294" r:id="rId43"/>
    <p:sldId id="339" r:id="rId44"/>
    <p:sldId id="381" r:id="rId45"/>
    <p:sldId id="257" r:id="rId46"/>
  </p:sldIdLst>
  <p:sldSz cx="12192000" cy="6858000"/>
  <p:notesSz cx="6858000" cy="9144000"/>
  <p:custDataLst>
    <p:tags r:id="rId49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7AA6"/>
    <a:srgbClr val="F532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02" autoAdjust="0"/>
    <p:restoredTop sz="94660"/>
  </p:normalViewPr>
  <p:slideViewPr>
    <p:cSldViewPr snapToGrid="0">
      <p:cViewPr varScale="1">
        <p:scale>
          <a:sx n="62" d="100"/>
          <a:sy n="62" d="100"/>
        </p:scale>
        <p:origin x="868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900"/>
    </p:cViewPr>
  </p:sorterViewPr>
  <p:notesViewPr>
    <p:cSldViewPr snapToGrid="0">
      <p:cViewPr varScale="1">
        <p:scale>
          <a:sx n="94" d="100"/>
          <a:sy n="94" d="100"/>
        </p:scale>
        <p:origin x="4068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51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>
            <a:extLst>
              <a:ext uri="{FF2B5EF4-FFF2-40B4-BE49-F238E27FC236}">
                <a16:creationId xmlns:a16="http://schemas.microsoft.com/office/drawing/2014/main" id="{B04B9EBC-5D97-42BF-B6EB-8E1B9C43771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AE2037F-A1E2-4CCA-8629-3BDB2B3CEB1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403F91-E352-4BC0-865E-00C4B778E8F4}" type="datetimeFigureOut">
              <a:rPr lang="fi-FI" smtClean="0"/>
              <a:t>19.9.2022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314A672F-4E2F-4FD9-84E6-5C27D74926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1937CE8-A32E-40B1-B45D-D4F2F4E54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A7C6AB-2EC7-448B-8841-68F14F13640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78985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B81401-98B2-4A2C-809B-B877EE2C7168}" type="datetimeFigureOut">
              <a:rPr lang="fi-FI" smtClean="0"/>
              <a:t>19.9.2022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9FF8-BAB1-4496-B899-A3D3A047A0D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79804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Kuva: Suomen Lähetysseura /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Prajwaal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Maharjan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. Kuvateksti: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Guyanu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Maya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Basnet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malar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rismjöl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,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som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bland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annat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används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till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nepalesiska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kringlor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.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171680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/>
              <a:t>Kuva: Suomen Lähetysseura; </a:t>
            </a:r>
            <a:r>
              <a:rPr lang="it-IT" dirty="0"/>
              <a:t>Phalombe_Mkhumba_ leipomo2_Efelo Layoni_Esnat Dokotala</a:t>
            </a:r>
            <a:endParaRPr lang="fi-FI" dirty="0"/>
          </a:p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4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962774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15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17.jpe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21.jpe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3.jpe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4.jpe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25.jpe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26.jpe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27.jpe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28.jpe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29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30.jpe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31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02006" y="1858282"/>
            <a:ext cx="7301552" cy="271371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1054554"/>
            <a:ext cx="9051631" cy="554236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06A2DB6-8804-DC7D-25B7-A81DAC7CF3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57"/>
          <a:stretch/>
        </p:blipFill>
        <p:spPr>
          <a:xfrm>
            <a:off x="0" y="4408198"/>
            <a:ext cx="12192000" cy="25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370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 otsik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5634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BFAD4-1674-4CF2-B45B-8A6AE3267E70}" type="datetime1">
              <a:rPr lang="fi-FI" smtClean="0"/>
              <a:t>19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ekstin paikkamerkki 2">
            <a:extLst>
              <a:ext uri="{FF2B5EF4-FFF2-40B4-BE49-F238E27FC236}">
                <a16:creationId xmlns:a16="http://schemas.microsoft.com/office/drawing/2014/main" id="{DB8E5AD2-AC49-41BF-8E8E-B9E708CF8B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2570" y="1825625"/>
            <a:ext cx="435684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2" name="Tekstin paikkamerkki 4">
            <a:extLst>
              <a:ext uri="{FF2B5EF4-FFF2-40B4-BE49-F238E27FC236}">
                <a16:creationId xmlns:a16="http://schemas.microsoft.com/office/drawing/2014/main" id="{682673EF-6749-45FF-934F-521AB8AF89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123099" y="1825625"/>
            <a:ext cx="435684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3" name="Sisällön paikkamerkki 3">
            <a:extLst>
              <a:ext uri="{FF2B5EF4-FFF2-40B4-BE49-F238E27FC236}">
                <a16:creationId xmlns:a16="http://schemas.microsoft.com/office/drawing/2014/main" id="{144CFA57-DA64-4D38-8D84-371526158F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14" name="Sisällön paikkamerkki 3">
            <a:extLst>
              <a:ext uri="{FF2B5EF4-FFF2-40B4-BE49-F238E27FC236}">
                <a16:creationId xmlns:a16="http://schemas.microsoft.com/office/drawing/2014/main" id="{EA4B8D27-0B6D-4D93-BEA3-C8D021A54D4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85137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60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56E71187-36AE-484F-BB17-5AEC7FEC5FA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4367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97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F0B70832-C857-4352-9AB3-07B0CEC30C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0598766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4593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69DB39D1-E9DE-4768-B8E5-E053B3D952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9480732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93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 descr="Kuva, joka sisältää kohteen projektori&#10;&#10;Kuvaus luotu automaattisesti">
            <a:extLst>
              <a:ext uri="{FF2B5EF4-FFF2-40B4-BE49-F238E27FC236}">
                <a16:creationId xmlns:a16="http://schemas.microsoft.com/office/drawing/2014/main" id="{1F6A6F5A-2B5A-4C9F-8B1D-C8C1B4F6F11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7879968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2627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7D072600-72AA-43DA-A6A5-4467A400B2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6769489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1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971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CB9458-F8AF-497E-9F81-AD036D03DEDB}" type="datetime1">
              <a:rPr lang="fi-FI" smtClean="0"/>
              <a:t>19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940445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751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009661-B6A2-4FCB-BD74-92B50AB3778C}" type="datetime1">
              <a:rPr lang="fi-FI" smtClean="0"/>
              <a:t>19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E89924-14C9-4296-ABC7-EBBCD552A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15A44A2E-E5B2-4E04-80E5-5944B427B0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4765508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290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A64F9AF8-C832-478A-829F-2E210CB7E8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AAAD7-C136-4D1E-AF2E-19C7BA22B24F}" type="datetime1">
              <a:rPr lang="fi-FI" smtClean="0"/>
              <a:t>19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992102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2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39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27A65451-5E9A-4362-B56B-472B5EC62E1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27017-FB81-4058-9ED0-07FC92AC8426}" type="datetime1">
              <a:rPr lang="fi-FI" smtClean="0"/>
              <a:t>19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06428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3" name="Suorakulmio 2">
            <a:extLst>
              <a:ext uri="{FF2B5EF4-FFF2-40B4-BE49-F238E27FC236}">
                <a16:creationId xmlns:a16="http://schemas.microsoft.com/office/drawing/2014/main" id="{55DA76B5-D7F4-A810-3D21-836E92107A21}"/>
              </a:ext>
            </a:extLst>
          </p:cNvPr>
          <p:cNvSpPr/>
          <p:nvPr userDrawn="1"/>
        </p:nvSpPr>
        <p:spPr>
          <a:xfrm>
            <a:off x="0" y="-2"/>
            <a:ext cx="12192002" cy="6912593"/>
          </a:xfrm>
          <a:prstGeom prst="rect">
            <a:avLst/>
          </a:prstGeom>
          <a:solidFill>
            <a:srgbClr val="117AA6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02006" y="1858282"/>
            <a:ext cx="7301552" cy="271371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1054554"/>
            <a:ext cx="9051631" cy="554236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06A2DB6-8804-DC7D-25B7-A81DAC7CF3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57"/>
          <a:stretch/>
        </p:blipFill>
        <p:spPr>
          <a:xfrm>
            <a:off x="0" y="4408198"/>
            <a:ext cx="12192000" cy="25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0460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0731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>
            <a:extLst>
              <a:ext uri="{FF2B5EF4-FFF2-40B4-BE49-F238E27FC236}">
                <a16:creationId xmlns:a16="http://schemas.microsoft.com/office/drawing/2014/main" id="{BC0B16E9-3EA2-4500-8BB5-B551C527566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AE43D5-4913-4B12-8F1A-D77C9E7C9514}" type="datetime1">
              <a:rPr lang="fi-FI" smtClean="0"/>
              <a:t>19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053A0229-BAFC-4889-A089-6AEF35F3A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6350BE49-FFA0-4D9E-B58E-CD5AA20BE0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023524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361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0B3FA059-4826-40F7-A69B-9938401E2EB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BA3C4-84FB-423B-A833-1DD13600A864}" type="datetime1">
              <a:rPr lang="fi-FI" smtClean="0"/>
              <a:t>19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984224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3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587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7FDD56A1-7DDE-49A6-9567-FDDE69B065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AB70B-7C2E-4009-96C2-C9329400CE93}" type="datetime1">
              <a:rPr lang="fi-FI" smtClean="0"/>
              <a:t>19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107468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202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259B10F8-B6DC-4B68-998C-8044E40EBE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AB408-7E6A-4561-A965-EDE232A4655D}" type="datetime1">
              <a:rPr lang="fi-FI" smtClean="0"/>
              <a:t>19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2746994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167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C9CF7A8C-CE21-4C7A-A00A-F77810DA90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9925B-DA76-45EB-B569-214FB920AC23}" type="datetime1">
              <a:rPr lang="fi-FI" smtClean="0"/>
              <a:t>19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949959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4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9787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7376913-E50E-4387-9E96-C5E04E43BF0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3A492-0714-4886-B211-87CBBA09BAA6}" type="datetime1">
              <a:rPr lang="fi-FI" smtClean="0"/>
              <a:t>19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997925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4042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129CBB7-CA95-4DB5-BA28-C36DB59D895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DBCB3-DE3E-4E88-A776-8A852B77D7ED}" type="datetime1">
              <a:rPr lang="fi-FI" smtClean="0"/>
              <a:t>19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2524232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612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2D9143B0-048A-4677-98A2-9C8E5C0077F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726563-8E94-456C-AB1A-BC730F03108B}" type="datetime1">
              <a:rPr lang="fi-FI" smtClean="0"/>
              <a:t>19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8006913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5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9558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945E664-5DB1-4537-B836-CD53F16D6C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655EB4-BFD9-4BD5-B3DE-197159AF66A2}" type="datetime1">
              <a:rPr lang="fi-FI" smtClean="0"/>
              <a:t>19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7792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29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>
            <a:extLst>
              <a:ext uri="{FF2B5EF4-FFF2-40B4-BE49-F238E27FC236}">
                <a16:creationId xmlns:a16="http://schemas.microsoft.com/office/drawing/2014/main" id="{9FCF73B0-126B-453B-9EA7-F5AB6B42322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F45808-44CB-4246-A8C2-12D8E3391149}" type="datetime1">
              <a:rPr lang="fi-FI" smtClean="0"/>
              <a:t>19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518989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 descr="Kuva, joka sisältää kohteen henkilö, seinä, seisominen, sininen&#10;&#10;Kuvaus luotu automaattisesti">
            <a:extLst>
              <a:ext uri="{FF2B5EF4-FFF2-40B4-BE49-F238E27FC236}">
                <a16:creationId xmlns:a16="http://schemas.microsoft.com/office/drawing/2014/main" id="{80D85BD0-2F8F-4762-B2DB-FA172DDF23E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30244" y="3802314"/>
            <a:ext cx="3993137" cy="1613647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6258" y="1328057"/>
            <a:ext cx="4577123" cy="2034348"/>
          </a:xfrm>
        </p:spPr>
        <p:txBody>
          <a:bodyPr vert="horz" anchor="b">
            <a:normAutofit/>
          </a:bodyPr>
          <a:lstStyle>
            <a:lvl1pPr algn="r">
              <a:defRPr sz="4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uora yhdysviiva 5">
            <a:extLst>
              <a:ext uri="{FF2B5EF4-FFF2-40B4-BE49-F238E27FC236}">
                <a16:creationId xmlns:a16="http://schemas.microsoft.com/office/drawing/2014/main" id="{179E9D39-75CF-430E-A0F1-7DEE53DD25E3}"/>
              </a:ext>
            </a:extLst>
          </p:cNvPr>
          <p:cNvCxnSpPr>
            <a:cxnSpLocks/>
          </p:cNvCxnSpPr>
          <p:nvPr userDrawn="1"/>
        </p:nvCxnSpPr>
        <p:spPr>
          <a:xfrm>
            <a:off x="9091101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01633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0163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1B3519DA-7254-4EAF-94F9-707A1108726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B7124-2A20-4688-9892-F5411985B26C}" type="datetime1">
              <a:rPr lang="fi-FI" smtClean="0"/>
              <a:t>19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688660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sto/sitaatt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298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AC71C887-6855-4E89-A710-FEA8506D6DB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</p:spTree>
    <p:extLst>
      <p:ext uri="{BB962C8B-B14F-4D97-AF65-F5344CB8AC3E}">
        <p14:creationId xmlns:p14="http://schemas.microsoft.com/office/powerpoint/2010/main" val="17283799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7818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C1413E65-1FC2-4106-AEF1-A00456FD8D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E6E2ED78-3D5B-473F-BCF0-111548C534F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6D2A48F-A03B-4638-8B46-A1FCCA31D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044771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3767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716E8CF5-015C-4FD3-8BB0-502BF8975EA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4A029B14-B9A6-465C-AEAD-B0E93AB26C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F60A3C-77A3-4EFA-AFCA-36D7D38505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42401742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202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1AE60BC4-2E88-4DC5-BEA2-177F4586E08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973D34D3-FF24-4809-8B1B-CCA9358AD97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C729F224-95F0-4AA3-BC77-5EB1336B01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15857643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324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07BD73EF-DFB1-4164-B80E-F01AD87721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FF7D5B88-F627-46DD-8F5F-B0121EC0654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B051EC7-E656-4E75-891D-E9117789F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1375694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19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19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A64BDFE0-23FD-4FB9-868E-275C440A97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061" y="2349000"/>
            <a:ext cx="2489314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9590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545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Kuva 2" descr="Kuva, joka sisältää kohteen teksti&#10;&#10;Kuvaus luotu automaattisesti">
            <a:extLst>
              <a:ext uri="{FF2B5EF4-FFF2-40B4-BE49-F238E27FC236}">
                <a16:creationId xmlns:a16="http://schemas.microsoft.com/office/drawing/2014/main" id="{F259D9A4-6AF6-4C23-A391-60D757A78F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9228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26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2D5528BD-CFA5-4BDD-A809-8999A6D97C1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860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86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henkilö, ulko, poika, nuori&#10;&#10;Kuvaus luotu automaattisesti">
            <a:extLst>
              <a:ext uri="{FF2B5EF4-FFF2-40B4-BE49-F238E27FC236}">
                <a16:creationId xmlns:a16="http://schemas.microsoft.com/office/drawing/2014/main" id="{D3579580-2FD9-4929-825A-30B349E6A5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406178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711387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11" name="Suora yhdysviiva 10">
            <a:extLst>
              <a:ext uri="{FF2B5EF4-FFF2-40B4-BE49-F238E27FC236}">
                <a16:creationId xmlns:a16="http://schemas.microsoft.com/office/drawing/2014/main" id="{9D21BD7C-487C-4713-A7A3-47CD927F5D03}"/>
              </a:ext>
            </a:extLst>
          </p:cNvPr>
          <p:cNvCxnSpPr>
            <a:cxnSpLocks/>
          </p:cNvCxnSpPr>
          <p:nvPr userDrawn="1"/>
        </p:nvCxnSpPr>
        <p:spPr>
          <a:xfrm>
            <a:off x="672576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836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32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henkilö&#10;&#10;Kuvaus luotu automaattisesti">
            <a:extLst>
              <a:ext uri="{FF2B5EF4-FFF2-40B4-BE49-F238E27FC236}">
                <a16:creationId xmlns:a16="http://schemas.microsoft.com/office/drawing/2014/main" id="{8189FA21-91AF-4438-A231-043FFBDF0AA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682802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988011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245E15B8-9654-43AE-AC81-8C1D900AD564}"/>
              </a:ext>
            </a:extLst>
          </p:cNvPr>
          <p:cNvCxnSpPr>
            <a:cxnSpLocks/>
          </p:cNvCxnSpPr>
          <p:nvPr userDrawn="1"/>
        </p:nvCxnSpPr>
        <p:spPr>
          <a:xfrm>
            <a:off x="672576" y="3853956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65821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04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B7054C96-6274-4344-8F1C-9D8B3F9EBDE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91089"/>
            <a:ext cx="9144000" cy="2387600"/>
          </a:xfrm>
        </p:spPr>
        <p:txBody>
          <a:bodyPr vert="horz" anchor="b">
            <a:normAutofit/>
          </a:bodyPr>
          <a:lstStyle>
            <a:lvl1pPr algn="ctr">
              <a:defRPr sz="5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395267"/>
            <a:ext cx="9144000" cy="156659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E4DA1EC6-FD96-4315-9EBD-2928B8B679DF}"/>
              </a:ext>
            </a:extLst>
          </p:cNvPr>
          <p:cNvCxnSpPr>
            <a:cxnSpLocks/>
          </p:cNvCxnSpPr>
          <p:nvPr userDrawn="1"/>
        </p:nvCxnSpPr>
        <p:spPr>
          <a:xfrm>
            <a:off x="4898211" y="4194149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06309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83BC1A8A-A3C3-4DC4-A71B-238228D24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4759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83BC1A8A-A3C3-4DC4-A71B-238228D24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13994B2C-6ECC-4E39-B141-20CC0B17B37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3F7BCA4F-9062-4B46-9FA2-755EDD857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468" y="1830722"/>
            <a:ext cx="5018363" cy="1642460"/>
          </a:xfrm>
        </p:spPr>
        <p:txBody>
          <a:bodyPr vert="horz" anchor="b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8B774BBC-BD18-4C6B-B972-A50EF26B2F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54266" y="701702"/>
            <a:ext cx="4856309" cy="5454597"/>
          </a:xfrm>
        </p:spPr>
        <p:txBody>
          <a:bodyPr anchor="ctr"/>
          <a:lstStyle>
            <a:lvl4pPr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F5B6CC3-33F4-4CC1-81A3-6A2EC0F72F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44533" y="143813"/>
            <a:ext cx="2743200" cy="365125"/>
          </a:xfrm>
        </p:spPr>
        <p:txBody>
          <a:bodyPr/>
          <a:lstStyle>
            <a:lvl1pPr algn="r">
              <a:defRPr/>
            </a:lvl1pPr>
          </a:lstStyle>
          <a:p>
            <a:fld id="{C195E768-76B1-434E-9289-2595ECCB79C4}" type="datetime1">
              <a:rPr lang="fi-FI" smtClean="0"/>
              <a:t>19.9.2022</a:t>
            </a:fld>
            <a:endParaRPr lang="fi-FI" dirty="0"/>
          </a:p>
        </p:txBody>
      </p:sp>
      <p:sp>
        <p:nvSpPr>
          <p:cNvPr id="15" name="Dian numeron paikkamerkki 5">
            <a:extLst>
              <a:ext uri="{FF2B5EF4-FFF2-40B4-BE49-F238E27FC236}">
                <a16:creationId xmlns:a16="http://schemas.microsoft.com/office/drawing/2014/main" id="{484D391B-6EFF-4180-9E7A-334F2CB52EDE}"/>
              </a:ext>
            </a:extLst>
          </p:cNvPr>
          <p:cNvSpPr txBox="1">
            <a:spLocks/>
          </p:cNvSpPr>
          <p:nvPr userDrawn="1"/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r" defTabSz="914400" rtl="0" eaLnBrk="1" latinLnBrk="0" hangingPunct="1">
              <a:defRPr sz="11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EF4AC885-2B1D-41F5-80AC-E7E8B38926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61468" y="3622431"/>
            <a:ext cx="5018363" cy="2246556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42694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322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19.9.2022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17470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36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6A09B5-4BD5-4BED-8EEC-68F2A4ACDD07}" type="datetime1">
              <a:rPr lang="fi-FI" smtClean="0"/>
              <a:t>19.9.2022</a:t>
            </a:fld>
            <a:endParaRPr lang="fi-FI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Sisällön paikkamerkki 3">
            <a:extLst>
              <a:ext uri="{FF2B5EF4-FFF2-40B4-BE49-F238E27FC236}">
                <a16:creationId xmlns:a16="http://schemas.microsoft.com/office/drawing/2014/main" id="{4FFC9929-2D4B-4FA7-A3FA-B826124BFB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618585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99A5D101-E9BB-4459-960C-90D85F6203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008327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21" imgH="423" progId="TCLayout.ActiveDocument.1">
                  <p:embed/>
                </p:oleObj>
              </mc:Choice>
              <mc:Fallback>
                <p:oleObj name="think-cell Slide" r:id="rId41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99A5D101-E9BB-4459-960C-90D85F620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Kuva 27">
            <a:extLst>
              <a:ext uri="{FF2B5EF4-FFF2-40B4-BE49-F238E27FC236}">
                <a16:creationId xmlns:a16="http://schemas.microsoft.com/office/drawing/2014/main" id="{E9A01564-13CB-4203-95FC-74A153B35C14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C15BEBDC-D372-439D-BE3F-D0014E9F9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4B3C6A2-8A7D-4D37-85A3-E38FFE7580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4B6028D-345E-4983-9377-3B51E8C6D9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06113" y="18739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33DB1DC-11BF-4585-868B-306EA823E62F}" type="datetime1">
              <a:rPr lang="fi-FI" smtClean="0"/>
              <a:t>19.9.2022</a:t>
            </a:fld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F7B2924-DE79-4005-AE54-8E1CC0EEDC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94880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674" r:id="rId3"/>
    <p:sldLayoutId id="2147483660" r:id="rId4"/>
    <p:sldLayoutId id="2147483673" r:id="rId5"/>
    <p:sldLayoutId id="2147483649" r:id="rId6"/>
    <p:sldLayoutId id="2147483650" r:id="rId7"/>
    <p:sldLayoutId id="2147483675" r:id="rId8"/>
    <p:sldLayoutId id="2147483652" r:id="rId9"/>
    <p:sldLayoutId id="2147483676" r:id="rId10"/>
    <p:sldLayoutId id="2147483651" r:id="rId11"/>
    <p:sldLayoutId id="2147483679" r:id="rId12"/>
    <p:sldLayoutId id="2147483680" r:id="rId13"/>
    <p:sldLayoutId id="2147483681" r:id="rId14"/>
    <p:sldLayoutId id="2147483682" r:id="rId15"/>
    <p:sldLayoutId id="2147483656" r:id="rId16"/>
    <p:sldLayoutId id="2147483677" r:id="rId17"/>
    <p:sldLayoutId id="2147483678" r:id="rId18"/>
    <p:sldLayoutId id="2147483683" r:id="rId19"/>
    <p:sldLayoutId id="2147483684" r:id="rId20"/>
    <p:sldLayoutId id="2147483685" r:id="rId21"/>
    <p:sldLayoutId id="2147483686" r:id="rId22"/>
    <p:sldLayoutId id="2147483687" r:id="rId23"/>
    <p:sldLayoutId id="2147483688" r:id="rId24"/>
    <p:sldLayoutId id="2147483689" r:id="rId25"/>
    <p:sldLayoutId id="2147483690" r:id="rId26"/>
    <p:sldLayoutId id="2147483691" r:id="rId27"/>
    <p:sldLayoutId id="2147483692" r:id="rId28"/>
    <p:sldLayoutId id="2147483693" r:id="rId29"/>
    <p:sldLayoutId id="2147483694" r:id="rId30"/>
    <p:sldLayoutId id="2147483695" r:id="rId31"/>
    <p:sldLayoutId id="2147483696" r:id="rId32"/>
    <p:sldLayoutId id="2147483697" r:id="rId33"/>
    <p:sldLayoutId id="2147483698" r:id="rId34"/>
    <p:sldLayoutId id="2147483699" r:id="rId35"/>
    <p:sldLayoutId id="2147483702" r:id="rId36"/>
    <p:sldLayoutId id="2147483700" r:id="rId37"/>
    <p:sldLayoutId id="2147483701" r:id="rId3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i-FI" sz="3600" b="1" kern="1200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 descr="Kuva, joka sisältää kohteen henkilö&#10;&#10;Kuvaus luotu automaattisesti">
            <a:extLst>
              <a:ext uri="{FF2B5EF4-FFF2-40B4-BE49-F238E27FC236}">
                <a16:creationId xmlns:a16="http://schemas.microsoft.com/office/drawing/2014/main" id="{0ACAD9E6-F15E-0EF5-9B08-E4B58D6FAE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95" b="1104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6E51947E-8BDE-625E-08C0-11F13335CB7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0" y="4442446"/>
            <a:ext cx="12192000" cy="2494802"/>
          </a:xfrm>
          <a:prstGeom prst="rect">
            <a:avLst/>
          </a:prstGeom>
        </p:spPr>
      </p:pic>
      <p:sp>
        <p:nvSpPr>
          <p:cNvPr id="8" name="Otsikko 1">
            <a:extLst>
              <a:ext uri="{FF2B5EF4-FFF2-40B4-BE49-F238E27FC236}">
                <a16:creationId xmlns:a16="http://schemas.microsoft.com/office/drawing/2014/main" id="{8DB3D291-BE51-A28C-FE34-492CEA93AD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1113" y="1785796"/>
            <a:ext cx="5354472" cy="768769"/>
          </a:xfrm>
        </p:spPr>
        <p:txBody>
          <a:bodyPr>
            <a:normAutofit fontScale="90000"/>
          </a:bodyPr>
          <a:lstStyle/>
          <a:p>
            <a:pPr algn="l"/>
            <a:r>
              <a:rPr lang="fi-FI" sz="4400" dirty="0">
                <a:solidFill>
                  <a:schemeClr val="bg1"/>
                </a:solidFill>
              </a:rPr>
              <a:t>Yhteinen leipämme</a:t>
            </a:r>
            <a:br>
              <a:rPr lang="fi-FI" sz="4400" dirty="0">
                <a:solidFill>
                  <a:schemeClr val="bg1"/>
                </a:solidFill>
              </a:rPr>
            </a:br>
            <a:r>
              <a:rPr lang="fi-FI" sz="4400" dirty="0">
                <a:solidFill>
                  <a:schemeClr val="bg1"/>
                </a:solidFill>
              </a:rPr>
              <a:t>- virret</a:t>
            </a:r>
          </a:p>
        </p:txBody>
      </p:sp>
      <p:cxnSp>
        <p:nvCxnSpPr>
          <p:cNvPr id="15" name="Suora yhdysviiva 14">
            <a:extLst>
              <a:ext uri="{FF2B5EF4-FFF2-40B4-BE49-F238E27FC236}">
                <a16:creationId xmlns:a16="http://schemas.microsoft.com/office/drawing/2014/main" id="{827F2DCF-7A99-3050-1BE8-72E07399A4C4}"/>
              </a:ext>
            </a:extLst>
          </p:cNvPr>
          <p:cNvCxnSpPr/>
          <p:nvPr/>
        </p:nvCxnSpPr>
        <p:spPr>
          <a:xfrm>
            <a:off x="914761" y="2657590"/>
            <a:ext cx="283873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Kuva 16">
            <a:extLst>
              <a:ext uri="{FF2B5EF4-FFF2-40B4-BE49-F238E27FC236}">
                <a16:creationId xmlns:a16="http://schemas.microsoft.com/office/drawing/2014/main" id="{984D7A02-F60B-BF21-3D86-04A40F87762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7" t="19755" r="11330" b="22398"/>
          <a:stretch/>
        </p:blipFill>
        <p:spPr>
          <a:xfrm>
            <a:off x="831376" y="2985533"/>
            <a:ext cx="1540852" cy="391634"/>
          </a:xfrm>
          <a:prstGeom prst="rect">
            <a:avLst/>
          </a:prstGeom>
        </p:spPr>
      </p:pic>
      <p:sp>
        <p:nvSpPr>
          <p:cNvPr id="18" name="Otsikko 1">
            <a:extLst>
              <a:ext uri="{FF2B5EF4-FFF2-40B4-BE49-F238E27FC236}">
                <a16:creationId xmlns:a16="http://schemas.microsoft.com/office/drawing/2014/main" id="{0F31631C-37C2-C644-8570-0A9F988F0E36}"/>
              </a:ext>
            </a:extLst>
          </p:cNvPr>
          <p:cNvSpPr txBox="1">
            <a:spLocks/>
          </p:cNvSpPr>
          <p:nvPr/>
        </p:nvSpPr>
        <p:spPr>
          <a:xfrm>
            <a:off x="812325" y="3343982"/>
            <a:ext cx="1965278" cy="48054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0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fi-FI" sz="2800" b="0" dirty="0">
                <a:solidFill>
                  <a:schemeClr val="bg1"/>
                </a:solidFill>
              </a:rPr>
              <a:t>Syksy 2022</a:t>
            </a:r>
          </a:p>
        </p:txBody>
      </p:sp>
    </p:spTree>
    <p:extLst>
      <p:ext uri="{BB962C8B-B14F-4D97-AF65-F5344CB8AC3E}">
        <p14:creationId xmlns:p14="http://schemas.microsoft.com/office/powerpoint/2010/main" val="2221111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57626" y="1578428"/>
            <a:ext cx="3472587" cy="2275115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Sinua muukalaisena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ikävöin veljekseni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Oi saanhan tulla seuraasi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a sanaa evääkseni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12955" y="3853543"/>
            <a:ext cx="1717258" cy="54428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203:9a</a:t>
            </a:r>
          </a:p>
        </p:txBody>
      </p:sp>
    </p:spTree>
    <p:extLst>
      <p:ext uri="{BB962C8B-B14F-4D97-AF65-F5344CB8AC3E}">
        <p14:creationId xmlns:p14="http://schemas.microsoft.com/office/powerpoint/2010/main" val="25803759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530656BD-7434-B715-7FE4-C4FE1C5DE4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94123" y="1009196"/>
            <a:ext cx="4203754" cy="3486605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Myös toisiin kristittyihin liittää 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yhteinen leipä meidätki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Ruumiisi jäseninä kiittää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inua saamme, armoisi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Nyt yksi leipä meille suodaan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 henki yksi meihin luodaan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EBB08692-68CF-ACF5-2B74-E3A67BA18D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52718" y="4495801"/>
            <a:ext cx="1445159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220:5</a:t>
            </a:r>
          </a:p>
        </p:txBody>
      </p:sp>
    </p:spTree>
    <p:extLst>
      <p:ext uri="{BB962C8B-B14F-4D97-AF65-F5344CB8AC3E}">
        <p14:creationId xmlns:p14="http://schemas.microsoft.com/office/powerpoint/2010/main" val="23925417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530656BD-7434-B715-7FE4-C4FE1C5DE4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41547" y="1433740"/>
            <a:ext cx="3908906" cy="2789918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Vaan parhain manna, hunaja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on Hänen läsnäolonsa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e sydänten on lohdutus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elämän alku, valkeus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 sielun pyhä riemastus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EBB08692-68CF-ACF5-2B74-E3A67BA18D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05294" y="4223658"/>
            <a:ext cx="1445159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300:2</a:t>
            </a:r>
          </a:p>
        </p:txBody>
      </p:sp>
    </p:spTree>
    <p:extLst>
      <p:ext uri="{BB962C8B-B14F-4D97-AF65-F5344CB8AC3E}">
        <p14:creationId xmlns:p14="http://schemas.microsoft.com/office/powerpoint/2010/main" val="20856362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6973" y="511629"/>
            <a:ext cx="3238053" cy="4147457"/>
          </a:xfrm>
        </p:spPr>
        <p:txBody>
          <a:bodyPr>
            <a:normAutofit lnSpcReduction="10000"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Maan sato elon aikaan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pelloilta korjataan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 jyvät yhteen liittyy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kun leipä leivotaa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Näin, Herra, yhteen liitä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ydämet kaikkie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Luo kirkkoon yksi sielu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 rauha taivainen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97550" y="4659086"/>
            <a:ext cx="1317476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231:1</a:t>
            </a:r>
          </a:p>
        </p:txBody>
      </p:sp>
    </p:spTree>
    <p:extLst>
      <p:ext uri="{BB962C8B-B14F-4D97-AF65-F5344CB8AC3E}">
        <p14:creationId xmlns:p14="http://schemas.microsoft.com/office/powerpoint/2010/main" val="12243823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65783" y="581918"/>
            <a:ext cx="3717686" cy="4017976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Vaateta heikot kulkijat</a:t>
            </a:r>
          </a:p>
          <a:p>
            <a:pPr algn="l"/>
            <a:r>
              <a:rPr lang="fi-FI" sz="3200" i="1" dirty="0" err="1">
                <a:latin typeface="Gabriola" panose="04040605051002020D02" pitchFamily="82" charset="0"/>
              </a:rPr>
              <a:t>sun</a:t>
            </a:r>
            <a:r>
              <a:rPr lang="fi-FI" sz="3200" i="1" dirty="0">
                <a:latin typeface="Gabriola" panose="04040605051002020D02" pitchFamily="82" charset="0"/>
              </a:rPr>
              <a:t> matkavaatteellasi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voitele silmät sokeat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nyt silmävoiteellasi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anasi lyhty käteemme,</a:t>
            </a:r>
          </a:p>
          <a:p>
            <a:pPr algn="l"/>
            <a:r>
              <a:rPr lang="fi-FI" sz="3200" i="1" dirty="0" err="1">
                <a:latin typeface="Gabriola" panose="04040605051002020D02" pitchFamily="82" charset="0"/>
              </a:rPr>
              <a:t>kärsimysmuotos</a:t>
            </a:r>
            <a:r>
              <a:rPr lang="fi-FI" sz="3200" i="1" dirty="0">
                <a:latin typeface="Gabriola" panose="04040605051002020D02" pitchFamily="82" charset="0"/>
              </a:rPr>
              <a:t> eteemme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aseta, Herra, aina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73738" y="4599894"/>
            <a:ext cx="1409731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365:6</a:t>
            </a:r>
          </a:p>
        </p:txBody>
      </p:sp>
    </p:spTree>
    <p:extLst>
      <p:ext uri="{BB962C8B-B14F-4D97-AF65-F5344CB8AC3E}">
        <p14:creationId xmlns:p14="http://schemas.microsoft.com/office/powerpoint/2010/main" val="8685229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47243" y="759705"/>
            <a:ext cx="3897514" cy="4114799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Oi Isä meidän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huolen meistä kannat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leipämme meille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oka päivä annat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iis lapsen lailla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inuun luotamme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 hyvyyteesi, Isä, turvaamme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43140" y="4874504"/>
            <a:ext cx="1401617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366:1</a:t>
            </a:r>
          </a:p>
        </p:txBody>
      </p:sp>
    </p:spTree>
    <p:extLst>
      <p:ext uri="{BB962C8B-B14F-4D97-AF65-F5344CB8AC3E}">
        <p14:creationId xmlns:p14="http://schemas.microsoft.com/office/powerpoint/2010/main" val="10786276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2812" y="550379"/>
            <a:ext cx="3886376" cy="4408715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Kun Herra hoitaa, paimentaa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ei silloin mitään puutu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Hän kaitsemasta minua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ei väsy, ei hän suutu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Hän ruokkii taivaan leivällä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 ja elävällä vedellä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virvoittaa sieluani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59343" y="4959094"/>
            <a:ext cx="1379845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375:1</a:t>
            </a:r>
          </a:p>
        </p:txBody>
      </p:sp>
    </p:spTree>
    <p:extLst>
      <p:ext uri="{BB962C8B-B14F-4D97-AF65-F5344CB8AC3E}">
        <p14:creationId xmlns:p14="http://schemas.microsoft.com/office/powerpoint/2010/main" val="1200832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52812" y="985809"/>
            <a:ext cx="3886376" cy="3466450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Herralta on kuritus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Herralta myös armahdus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Hän suo puutteen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hän suo leivän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murheen niin kuin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ilon päivän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70960" y="4452259"/>
            <a:ext cx="1668228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384:4b</a:t>
            </a:r>
          </a:p>
        </p:txBody>
      </p:sp>
    </p:spTree>
    <p:extLst>
      <p:ext uri="{BB962C8B-B14F-4D97-AF65-F5344CB8AC3E}">
        <p14:creationId xmlns:p14="http://schemas.microsoft.com/office/powerpoint/2010/main" val="20933749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29749" y="474182"/>
            <a:ext cx="3532502" cy="4609451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Käskit meidät maailmaasi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viljellä ja varjella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työhön tähän antamaasi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anna meidän taipua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Kiittäen suo antejasi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meidän täällä nauttia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oikein käyttää lahjojasi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Kuule meitä, Jumala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82582" y="5083633"/>
            <a:ext cx="1379669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391:9</a:t>
            </a:r>
          </a:p>
        </p:txBody>
      </p:sp>
    </p:spTree>
    <p:extLst>
      <p:ext uri="{BB962C8B-B14F-4D97-AF65-F5344CB8AC3E}">
        <p14:creationId xmlns:p14="http://schemas.microsoft.com/office/powerpoint/2010/main" val="13891631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66064" y="1821770"/>
            <a:ext cx="3547851" cy="2293030"/>
          </a:xfrm>
        </p:spPr>
        <p:txBody>
          <a:bodyPr>
            <a:norm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Missä leipää murretaan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köyhää lasta ruokitaan, 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Herra toimii päällä maan 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armossaan ja voimassaan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01413" y="4114800"/>
            <a:ext cx="1412502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416:3</a:t>
            </a:r>
          </a:p>
        </p:txBody>
      </p:sp>
    </p:spTree>
    <p:extLst>
      <p:ext uri="{BB962C8B-B14F-4D97-AF65-F5344CB8AC3E}">
        <p14:creationId xmlns:p14="http://schemas.microsoft.com/office/powerpoint/2010/main" val="35033827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74403" y="1654460"/>
            <a:ext cx="7643194" cy="2971968"/>
          </a:xfrm>
        </p:spPr>
        <p:txBody>
          <a:bodyPr>
            <a:normAutofit/>
          </a:bodyPr>
          <a:lstStyle/>
          <a:p>
            <a:pPr algn="l"/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irsiä voi laulaa arjen ja juhlan hetkissä, </a:t>
            </a:r>
          </a:p>
          <a:p>
            <a:pPr algn="l"/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iin omassa rukoushetkessä kuin yhdessä muiden kanssa:</a:t>
            </a:r>
          </a:p>
          <a:p>
            <a:pPr algn="l"/>
            <a:endParaRPr lang="fi-FI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sten kerhot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uortenillat, isoskoulutus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aamattupiirit, lähetyspiirit, aikuisten kokoontumiset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umalanpalvelukset</a:t>
            </a:r>
            <a:endParaRPr lang="fi-FI" sz="2400" dirty="0">
              <a:solidFill>
                <a:schemeClr val="tx1"/>
              </a:solidFill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0427" y="604077"/>
            <a:ext cx="9151146" cy="658666"/>
          </a:xfrm>
        </p:spPr>
        <p:txBody>
          <a:bodyPr>
            <a:normAutofit/>
          </a:bodyPr>
          <a:lstStyle/>
          <a:p>
            <a:r>
              <a:rPr lang="fi-FI" dirty="0"/>
              <a:t>Virret</a:t>
            </a:r>
          </a:p>
        </p:txBody>
      </p:sp>
    </p:spTree>
    <p:extLst>
      <p:ext uri="{BB962C8B-B14F-4D97-AF65-F5344CB8AC3E}">
        <p14:creationId xmlns:p14="http://schemas.microsoft.com/office/powerpoint/2010/main" val="36440736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08627" y="844109"/>
            <a:ext cx="5094604" cy="4001152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Jeesus, askeleesi painoit pintaan maa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Työn ja uupumuksen tulit tuntemaa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Iloitsit ja itkit, ystäviä hait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Viinin, ohraleivän syötäväksi sait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Nälän, puutteen mailla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murruit leivän lailla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meille elämäksi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55929" y="4845261"/>
            <a:ext cx="1379845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417:1</a:t>
            </a:r>
          </a:p>
        </p:txBody>
      </p:sp>
    </p:spTree>
    <p:extLst>
      <p:ext uri="{BB962C8B-B14F-4D97-AF65-F5344CB8AC3E}">
        <p14:creationId xmlns:p14="http://schemas.microsoft.com/office/powerpoint/2010/main" val="6615142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56226" y="1121227"/>
            <a:ext cx="3679548" cy="3446916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Nälkäisiä auttaisinko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taittaisinko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leivästäni puolikkaan?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ksaisinko muserretun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lannistetun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auttaa maasta nousemaan?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55929" y="4568143"/>
            <a:ext cx="1379845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441:4</a:t>
            </a:r>
          </a:p>
        </p:txBody>
      </p:sp>
    </p:spTree>
    <p:extLst>
      <p:ext uri="{BB962C8B-B14F-4D97-AF65-F5344CB8AC3E}">
        <p14:creationId xmlns:p14="http://schemas.microsoft.com/office/powerpoint/2010/main" val="33369835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9427" y="1128256"/>
            <a:ext cx="3233145" cy="3446916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Rakkaalla läsnäolollasi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kirkasta päivä jokaine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Pyhästä ehtoollisestasi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uo ilo ylimaalline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Leivässä saavu siinäkin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ota me syömme arkisin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02187" y="4575172"/>
            <a:ext cx="1510385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465:3</a:t>
            </a:r>
          </a:p>
        </p:txBody>
      </p:sp>
    </p:spTree>
    <p:extLst>
      <p:ext uri="{BB962C8B-B14F-4D97-AF65-F5344CB8AC3E}">
        <p14:creationId xmlns:p14="http://schemas.microsoft.com/office/powerpoint/2010/main" val="226459095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17399" y="2481943"/>
            <a:ext cx="5557202" cy="1164771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Kaikki katsovat sinua, Herra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illä sinä annat meille ruokamme ajallaan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93503" y="3646714"/>
            <a:ext cx="1581098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473:1a</a:t>
            </a:r>
          </a:p>
        </p:txBody>
      </p:sp>
    </p:spTree>
    <p:extLst>
      <p:ext uri="{BB962C8B-B14F-4D97-AF65-F5344CB8AC3E}">
        <p14:creationId xmlns:p14="http://schemas.microsoft.com/office/powerpoint/2010/main" val="28398780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77370" y="836328"/>
            <a:ext cx="3837260" cy="3881226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Suo keskinäisen suosion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asua majoissamme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 ystävyyden, sovinnon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viihtyä seurassamme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Opeta leipää murtamaan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kaikille köyhään maailmaan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Oi Kristus, rauha anna!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36902" y="4717554"/>
            <a:ext cx="1477728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475:3</a:t>
            </a:r>
          </a:p>
        </p:txBody>
      </p:sp>
    </p:spTree>
    <p:extLst>
      <p:ext uri="{BB962C8B-B14F-4D97-AF65-F5344CB8AC3E}">
        <p14:creationId xmlns:p14="http://schemas.microsoft.com/office/powerpoint/2010/main" val="31258787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37169" y="1877317"/>
            <a:ext cx="4517661" cy="2286001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Armahtajamme, leipä ikuinen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nyt avaa meille rakkauden tie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niin että pöytiin tyhjiin, nälkäisiin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me jaamme leipää, sinun lahjaasi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77102" y="4163318"/>
            <a:ext cx="1477728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476:4</a:t>
            </a:r>
          </a:p>
        </p:txBody>
      </p:sp>
    </p:spTree>
    <p:extLst>
      <p:ext uri="{BB962C8B-B14F-4D97-AF65-F5344CB8AC3E}">
        <p14:creationId xmlns:p14="http://schemas.microsoft.com/office/powerpoint/2010/main" val="32496853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37270" y="1931746"/>
            <a:ext cx="2917460" cy="2275115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Taivaan isä meille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leivän lahjoittaa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Vaaroissa hän suojaa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pelon karkottaa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74885" y="4206861"/>
            <a:ext cx="1379845" cy="554236"/>
          </a:xfrm>
        </p:spPr>
        <p:txBody>
          <a:bodyPr>
            <a:normAutofit fontScale="90000"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494:2</a:t>
            </a:r>
          </a:p>
        </p:txBody>
      </p:sp>
    </p:spTree>
    <p:extLst>
      <p:ext uri="{BB962C8B-B14F-4D97-AF65-F5344CB8AC3E}">
        <p14:creationId xmlns:p14="http://schemas.microsoft.com/office/powerpoint/2010/main" val="339085330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80091" y="2079171"/>
            <a:ext cx="3831817" cy="2329543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Tee uskossa, toivossa työtä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 leipäsi rauhassa syö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Kun Herrasi armo on myötä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niin murheetta </a:t>
            </a:r>
            <a:r>
              <a:rPr lang="fi-FI" sz="3200" i="1" dirty="0" err="1">
                <a:latin typeface="Gabriola" panose="04040605051002020D02" pitchFamily="82" charset="0"/>
              </a:rPr>
              <a:t>nukkuos</a:t>
            </a:r>
            <a:r>
              <a:rPr lang="fi-FI" sz="3200" i="1" dirty="0">
                <a:latin typeface="Gabriola" panose="04040605051002020D02" pitchFamily="82" charset="0"/>
              </a:rPr>
              <a:t> yö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57936" y="4408714"/>
            <a:ext cx="1553972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521:7a</a:t>
            </a:r>
          </a:p>
        </p:txBody>
      </p:sp>
    </p:spTree>
    <p:extLst>
      <p:ext uri="{BB962C8B-B14F-4D97-AF65-F5344CB8AC3E}">
        <p14:creationId xmlns:p14="http://schemas.microsoft.com/office/powerpoint/2010/main" val="28761043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52921" y="468084"/>
            <a:ext cx="3486157" cy="4528458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Hän maahan sateen heitti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oi loistaa auringon, 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maan siunaukseen peitti, 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Hän Isä, luoja on. 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e siunaus näin siirtyi 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peltoomme, leipäämme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 Herran hyvyys piirtyi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 jokaiseen päiväämme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59233" y="4996542"/>
            <a:ext cx="1379845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575:2</a:t>
            </a:r>
          </a:p>
        </p:txBody>
      </p:sp>
    </p:spTree>
    <p:extLst>
      <p:ext uri="{BB962C8B-B14F-4D97-AF65-F5344CB8AC3E}">
        <p14:creationId xmlns:p14="http://schemas.microsoft.com/office/powerpoint/2010/main" val="12048829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65600" y="2366028"/>
            <a:ext cx="4060800" cy="1165919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On Herra maamme siunannut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 leivän meille suonut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74971" y="3531947"/>
            <a:ext cx="1551429" cy="554236"/>
          </a:xfrm>
        </p:spPr>
        <p:txBody>
          <a:bodyPr>
            <a:no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578:2a</a:t>
            </a:r>
          </a:p>
        </p:txBody>
      </p:sp>
    </p:spTree>
    <p:extLst>
      <p:ext uri="{BB962C8B-B14F-4D97-AF65-F5344CB8AC3E}">
        <p14:creationId xmlns:p14="http://schemas.microsoft.com/office/powerpoint/2010/main" val="12341783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40726" y="1141852"/>
            <a:ext cx="2641655" cy="3441034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Nyt keskenänne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myös leipä jakakaa, 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ihminen ihmiseltä 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umalan lahjat saa. 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iis keskenänne 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myös leipä jakakaa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4582886"/>
            <a:ext cx="1286381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12:5</a:t>
            </a:r>
          </a:p>
        </p:txBody>
      </p:sp>
    </p:spTree>
    <p:extLst>
      <p:ext uri="{BB962C8B-B14F-4D97-AF65-F5344CB8AC3E}">
        <p14:creationId xmlns:p14="http://schemas.microsoft.com/office/powerpoint/2010/main" val="404078520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87556" y="1832628"/>
            <a:ext cx="3616887" cy="2325715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Kun katsot </a:t>
            </a:r>
            <a:r>
              <a:rPr lang="fi-FI" sz="3200" i="1" dirty="0" err="1">
                <a:latin typeface="Gabriola" panose="04040605051002020D02" pitchFamily="82" charset="0"/>
              </a:rPr>
              <a:t>lapsijoukkohon</a:t>
            </a:r>
            <a:r>
              <a:rPr lang="fi-FI" sz="3200" i="1" dirty="0">
                <a:latin typeface="Gabriola" panose="04040605051002020D02" pitchFamily="82" charset="0"/>
              </a:rPr>
              <a:t>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murheko siitä oisi?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Herranhan lahja lapset on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hän leipää eikö soisi?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6186" y="4158343"/>
            <a:ext cx="1608257" cy="478972"/>
          </a:xfrm>
        </p:spPr>
        <p:txBody>
          <a:bodyPr>
            <a:no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582:5a</a:t>
            </a:r>
          </a:p>
        </p:txBody>
      </p:sp>
    </p:spTree>
    <p:extLst>
      <p:ext uri="{BB962C8B-B14F-4D97-AF65-F5344CB8AC3E}">
        <p14:creationId xmlns:p14="http://schemas.microsoft.com/office/powerpoint/2010/main" val="250571774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7657" y="1745542"/>
            <a:ext cx="3336686" cy="2412801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Rauha eineen enentää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ota viljan vähentää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Rauha leivän kasvaa suo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ota nälänhädän tuo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16543" y="4158343"/>
            <a:ext cx="1447800" cy="478972"/>
          </a:xfrm>
        </p:spPr>
        <p:txBody>
          <a:bodyPr>
            <a:no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587:2</a:t>
            </a:r>
          </a:p>
        </p:txBody>
      </p:sp>
    </p:spTree>
    <p:extLst>
      <p:ext uri="{BB962C8B-B14F-4D97-AF65-F5344CB8AC3E}">
        <p14:creationId xmlns:p14="http://schemas.microsoft.com/office/powerpoint/2010/main" val="428287624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86754" y="1724916"/>
            <a:ext cx="5018491" cy="2383973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Suola on mautonta, valheiden liejuun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totuuden puhtaus hukutetaa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Pilkattu Herramme, kuitenkin kutsut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euraasi heikkoja palvelemaan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18748" y="4108889"/>
            <a:ext cx="1586497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590:3</a:t>
            </a:r>
          </a:p>
        </p:txBody>
      </p:sp>
    </p:spTree>
    <p:extLst>
      <p:ext uri="{BB962C8B-B14F-4D97-AF65-F5344CB8AC3E}">
        <p14:creationId xmlns:p14="http://schemas.microsoft.com/office/powerpoint/2010/main" val="357123454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530656BD-7434-B715-7FE4-C4FE1C5DE4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28084" y="1936538"/>
            <a:ext cx="3735831" cy="2092295"/>
          </a:xfrm>
        </p:spPr>
        <p:txBody>
          <a:bodyPr>
            <a:normAutofit lnSpcReduction="10000"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Taivaan leipää jälleen meille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yödäksemme tarjoat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vaikeuksiin uupuneille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uuden voiman lahjoitat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EBB08692-68CF-ACF5-2B74-E3A67BA18D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12795" y="4028833"/>
            <a:ext cx="2751120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Laula kaikki maa 29:2</a:t>
            </a:r>
          </a:p>
        </p:txBody>
      </p:sp>
    </p:spTree>
    <p:extLst>
      <p:ext uri="{BB962C8B-B14F-4D97-AF65-F5344CB8AC3E}">
        <p14:creationId xmlns:p14="http://schemas.microsoft.com/office/powerpoint/2010/main" val="340124332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530656BD-7434-B715-7FE4-C4FE1C5DE4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94312" y="1663275"/>
            <a:ext cx="5403376" cy="2375325"/>
          </a:xfrm>
        </p:spPr>
        <p:txBody>
          <a:bodyPr>
            <a:norm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Kun kuulumme taivasten valtakuntaan, 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me emme voi kiintyä mammonaan maa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On meillä jo runsaus loppumaton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kun lähteemme, leipämme Herrassa on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EBB08692-68CF-ACF5-2B74-E3A67BA18D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6568" y="4038600"/>
            <a:ext cx="2751120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Laula kaikki maa 62:2</a:t>
            </a:r>
          </a:p>
        </p:txBody>
      </p:sp>
    </p:spTree>
    <p:extLst>
      <p:ext uri="{BB962C8B-B14F-4D97-AF65-F5344CB8AC3E}">
        <p14:creationId xmlns:p14="http://schemas.microsoft.com/office/powerpoint/2010/main" val="103456133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530656BD-7434-B715-7FE4-C4FE1C5DE4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94312" y="1804789"/>
            <a:ext cx="5403376" cy="2375325"/>
          </a:xfrm>
        </p:spPr>
        <p:txBody>
          <a:bodyPr>
            <a:norm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Leipä on lahja lapsille maailman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okainen tarvitsee ravinnon se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umala meille on sanan leivän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antanut kylväen sen siemenen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EBB08692-68CF-ACF5-2B74-E3A67BA18D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46568" y="4180114"/>
            <a:ext cx="2751120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Laula kaikki maa 80:1</a:t>
            </a:r>
          </a:p>
        </p:txBody>
      </p:sp>
    </p:spTree>
    <p:extLst>
      <p:ext uri="{BB962C8B-B14F-4D97-AF65-F5344CB8AC3E}">
        <p14:creationId xmlns:p14="http://schemas.microsoft.com/office/powerpoint/2010/main" val="285490572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530656BD-7434-B715-7FE4-C4FE1C5DE4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6242" y="2699657"/>
            <a:ext cx="3239516" cy="1057033"/>
          </a:xfrm>
        </p:spPr>
        <p:txBody>
          <a:bodyPr>
            <a:normAutofit lnSpcReduction="10000"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Ystäväksi saavuit meille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pöydässämme aterioit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EBB08692-68CF-ACF5-2B74-E3A67BA18D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29582" y="3756690"/>
            <a:ext cx="2886176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Laula kaikki maa 91:2a</a:t>
            </a:r>
          </a:p>
        </p:txBody>
      </p:sp>
    </p:spTree>
    <p:extLst>
      <p:ext uri="{BB962C8B-B14F-4D97-AF65-F5344CB8AC3E}">
        <p14:creationId xmlns:p14="http://schemas.microsoft.com/office/powerpoint/2010/main" val="31863229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530656BD-7434-B715-7FE4-C4FE1C5DE4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81108" y="1440301"/>
            <a:ext cx="5629783" cy="2962503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Veli veljeään vastaan nyt siunaten käy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pelko jäänyt on kuoleman yöhö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Leivän murramme varjossa versovan puun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tänään ryhdymme yhdessä työhön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illä sinun on valtakunta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EBB08692-68CF-ACF5-2B74-E3A67BA18D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81216" y="4402804"/>
            <a:ext cx="2729675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Laula kaikki maa 97:1</a:t>
            </a:r>
          </a:p>
        </p:txBody>
      </p:sp>
    </p:spTree>
    <p:extLst>
      <p:ext uri="{BB962C8B-B14F-4D97-AF65-F5344CB8AC3E}">
        <p14:creationId xmlns:p14="http://schemas.microsoft.com/office/powerpoint/2010/main" val="347392643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530656BD-7434-B715-7FE4-C4FE1C5DE4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30409" y="2307771"/>
            <a:ext cx="2832317" cy="1121229"/>
          </a:xfrm>
        </p:spPr>
        <p:txBody>
          <a:bodyPr>
            <a:norm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Ota kiitos ruuasta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Kiitos ruokavieraista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EBB08692-68CF-ACF5-2B74-E3A67BA18D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51485" y="3429000"/>
            <a:ext cx="3011241" cy="576943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Laula kaikki maa 106: 1b</a:t>
            </a:r>
          </a:p>
        </p:txBody>
      </p:sp>
    </p:spTree>
    <p:extLst>
      <p:ext uri="{BB962C8B-B14F-4D97-AF65-F5344CB8AC3E}">
        <p14:creationId xmlns:p14="http://schemas.microsoft.com/office/powerpoint/2010/main" val="337454273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530656BD-7434-B715-7FE4-C4FE1C5DE4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59690" y="2286000"/>
            <a:ext cx="3272620" cy="1143000"/>
          </a:xfrm>
        </p:spPr>
        <p:txBody>
          <a:bodyPr>
            <a:norm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Siunaa leipä terveydeksi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iloksi ja voimaksi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EBB08692-68CF-ACF5-2B74-E3A67BA18D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21069" y="3429000"/>
            <a:ext cx="3011241" cy="576943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Laula kaikki maa 106:2</a:t>
            </a:r>
          </a:p>
        </p:txBody>
      </p:sp>
    </p:spTree>
    <p:extLst>
      <p:ext uri="{BB962C8B-B14F-4D97-AF65-F5344CB8AC3E}">
        <p14:creationId xmlns:p14="http://schemas.microsoft.com/office/powerpoint/2010/main" val="18619277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59514" y="1762338"/>
            <a:ext cx="3472971" cy="2308920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Sanan valon anna paistaa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kaikki kansat tavoittaa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että kaukaisinkin maistaa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armon uutisleipää saa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39726" y="4071258"/>
            <a:ext cx="1292759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46:6</a:t>
            </a:r>
          </a:p>
        </p:txBody>
      </p:sp>
    </p:spTree>
    <p:extLst>
      <p:ext uri="{BB962C8B-B14F-4D97-AF65-F5344CB8AC3E}">
        <p14:creationId xmlns:p14="http://schemas.microsoft.com/office/powerpoint/2010/main" val="140407420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530656BD-7434-B715-7FE4-C4FE1C5DE4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2512" y="1838097"/>
            <a:ext cx="4166975" cy="2254931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Mutta leipä kasvaa murtamalla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e on sen salaisuus: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viiden leivän, kahden kalan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arvaamattomuus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EBB08692-68CF-ACF5-2B74-E3A67BA18D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264757" y="4093028"/>
            <a:ext cx="2914730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Laula kaikki maa 119:3b</a:t>
            </a:r>
          </a:p>
        </p:txBody>
      </p:sp>
    </p:spTree>
    <p:extLst>
      <p:ext uri="{BB962C8B-B14F-4D97-AF65-F5344CB8AC3E}">
        <p14:creationId xmlns:p14="http://schemas.microsoft.com/office/powerpoint/2010/main" val="132177279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530656BD-7434-B715-7FE4-C4FE1C5DE4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56539" y="1282926"/>
            <a:ext cx="3478922" cy="2407331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Kanssani hän aina kulkee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vaaroissa hän varjelee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Elon leivällä hän ruokkii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pelkääviä rohkaisee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EBB08692-68CF-ACF5-2B74-E3A67BA18D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20731" y="3690257"/>
            <a:ext cx="2914730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Laula kaikki maa 178a</a:t>
            </a:r>
          </a:p>
        </p:txBody>
      </p:sp>
    </p:spTree>
    <p:extLst>
      <p:ext uri="{BB962C8B-B14F-4D97-AF65-F5344CB8AC3E}">
        <p14:creationId xmlns:p14="http://schemas.microsoft.com/office/powerpoint/2010/main" val="309072817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person, green, decorated&#10;&#10;Description automatically generated">
            <a:extLst>
              <a:ext uri="{FF2B5EF4-FFF2-40B4-BE49-F238E27FC236}">
                <a16:creationId xmlns:a16="http://schemas.microsoft.com/office/drawing/2014/main" id="{0497D4FE-EDD4-4849-A0E5-D4295C4885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8530" y="0"/>
            <a:ext cx="4554940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CE6B551-0DC0-44CA-A7A6-F780E677C1CE}"/>
              </a:ext>
            </a:extLst>
          </p:cNvPr>
          <p:cNvSpPr txBox="1"/>
          <p:nvPr/>
        </p:nvSpPr>
        <p:spPr>
          <a:xfrm>
            <a:off x="276067" y="194765"/>
            <a:ext cx="3994608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i-FI" sz="3200" b="1" dirty="0">
                <a:solidFill>
                  <a:schemeClr val="bg1"/>
                </a:solidFill>
                <a:latin typeface="Gabriola" panose="04040605051002020D02" pitchFamily="82" charset="0"/>
              </a:rPr>
              <a:t>Rakas taivaallinen Isä, </a:t>
            </a:r>
          </a:p>
          <a:p>
            <a:r>
              <a:rPr lang="fi-FI" sz="3200" b="1" dirty="0">
                <a:solidFill>
                  <a:schemeClr val="bg1"/>
                </a:solidFill>
                <a:latin typeface="Gabriola" panose="04040605051002020D02" pitchFamily="82" charset="0"/>
              </a:rPr>
              <a:t>Anna meille tänä päivänä meidän jokapäiväinen leipämme.</a:t>
            </a:r>
          </a:p>
        </p:txBody>
      </p:sp>
    </p:spTree>
    <p:extLst>
      <p:ext uri="{BB962C8B-B14F-4D97-AF65-F5344CB8AC3E}">
        <p14:creationId xmlns:p14="http://schemas.microsoft.com/office/powerpoint/2010/main" val="246767874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6C8B4C-9202-997C-A21E-363E53760D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70184" y="1422200"/>
            <a:ext cx="9051631" cy="1009915"/>
          </a:xfrm>
        </p:spPr>
        <p:txBody>
          <a:bodyPr>
            <a:normAutofit fontScale="90000"/>
          </a:bodyPr>
          <a:lstStyle/>
          <a:p>
            <a:r>
              <a:rPr lang="fi-FI" sz="6700" dirty="0">
                <a:latin typeface="Gabriola" panose="04040605051002020D02" pitchFamily="82" charset="0"/>
              </a:rPr>
              <a:t>Jokapäiväinen leipämme:</a:t>
            </a:r>
            <a:endParaRPr lang="fi-FI" dirty="0">
              <a:latin typeface="Gabriola" panose="04040605051002020D02" pitchFamily="82" charset="0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6C74A8E0-E5A6-96FA-89E1-10FF87DD540E}"/>
              </a:ext>
            </a:extLst>
          </p:cNvPr>
          <p:cNvSpPr txBox="1">
            <a:spLocks/>
          </p:cNvSpPr>
          <p:nvPr/>
        </p:nvSpPr>
        <p:spPr>
          <a:xfrm>
            <a:off x="1570184" y="2597869"/>
            <a:ext cx="9051631" cy="83113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0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i-FI" sz="4400" dirty="0">
                <a:latin typeface="Gabriola" panose="04040605051002020D02" pitchFamily="82" charset="0"/>
              </a:rPr>
              <a:t>Jumalan läsnäolo, siunaus ja rukous</a:t>
            </a:r>
            <a:endParaRPr lang="fi-FI" dirty="0">
              <a:latin typeface="Gabriola" panose="04040605051002020D02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110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6C74A8E0-E5A6-96FA-89E1-10FF87DD540E}"/>
              </a:ext>
            </a:extLst>
          </p:cNvPr>
          <p:cNvSpPr txBox="1">
            <a:spLocks/>
          </p:cNvSpPr>
          <p:nvPr/>
        </p:nvSpPr>
        <p:spPr>
          <a:xfrm>
            <a:off x="1955307" y="2286000"/>
            <a:ext cx="8281386" cy="149134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0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i-FI" sz="3200" dirty="0">
                <a:latin typeface="Gabriola" panose="04040605051002020D02" pitchFamily="82" charset="0"/>
              </a:rPr>
              <a:t>Lisää Raamatun leivän moninaisia makuja ja käyttötarkoituksia </a:t>
            </a:r>
          </a:p>
          <a:p>
            <a:r>
              <a:rPr lang="fi-FI" sz="3200" dirty="0">
                <a:latin typeface="Gabriola" panose="04040605051002020D02" pitchFamily="82" charset="0"/>
              </a:rPr>
              <a:t>löytyy rovasti Pekka </a:t>
            </a:r>
            <a:r>
              <a:rPr lang="fi-FI" sz="3200" dirty="0" err="1">
                <a:latin typeface="Gabriola" panose="04040605051002020D02" pitchFamily="82" charset="0"/>
              </a:rPr>
              <a:t>Harnen</a:t>
            </a:r>
            <a:r>
              <a:rPr lang="fi-FI" sz="3200" dirty="0">
                <a:latin typeface="Gabriola" panose="04040605051002020D02" pitchFamily="82" charset="0"/>
              </a:rPr>
              <a:t> teoksesta </a:t>
            </a:r>
            <a:r>
              <a:rPr lang="fi-FI" sz="3200" i="1" dirty="0">
                <a:latin typeface="Gabriola" panose="04040605051002020D02" pitchFamily="82" charset="0"/>
              </a:rPr>
              <a:t>Murrettua leipää </a:t>
            </a:r>
          </a:p>
          <a:p>
            <a:r>
              <a:rPr lang="fi-FI" sz="3200" dirty="0">
                <a:latin typeface="Gabriola" panose="04040605051002020D02" pitchFamily="82" charset="0"/>
              </a:rPr>
              <a:t>(Suomen Lähetysseura 2006)</a:t>
            </a:r>
          </a:p>
        </p:txBody>
      </p:sp>
    </p:spTree>
    <p:extLst>
      <p:ext uri="{BB962C8B-B14F-4D97-AF65-F5344CB8AC3E}">
        <p14:creationId xmlns:p14="http://schemas.microsoft.com/office/powerpoint/2010/main" val="30854559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6C66CB21-53C0-D442-CD72-200E1F6099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02006" y="2226771"/>
            <a:ext cx="7301552" cy="2713718"/>
          </a:xfrm>
          <a:effectLst/>
        </p:spPr>
        <p:txBody>
          <a:bodyPr>
            <a:noAutofit/>
          </a:bodyPr>
          <a:lstStyle/>
          <a:p>
            <a:r>
              <a:rPr lang="fi-FI" sz="4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otta maailma olisi oikeudenmukaisempi, valoisampi ja lempeämpi</a:t>
            </a:r>
            <a:endParaRPr lang="fi-FI" sz="4400" dirty="0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F5D1C075-D6F7-25DC-430B-21DC896AFA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15150" y="859811"/>
            <a:ext cx="8591589" cy="1310185"/>
          </a:xfrm>
          <a:effectLst/>
        </p:spPr>
        <p:txBody>
          <a:bodyPr>
            <a:noAutofit/>
          </a:bodyPr>
          <a:lstStyle/>
          <a:p>
            <a:r>
              <a:rPr lang="fi-FI" sz="6600" dirty="0">
                <a:latin typeface="Calibri" panose="020F0502020204030204" pitchFamily="34" charset="0"/>
                <a:cs typeface="Calibri" panose="020F0502020204030204" pitchFamily="34" charset="0"/>
              </a:rPr>
              <a:t>TASAUS,</a:t>
            </a:r>
          </a:p>
        </p:txBody>
      </p:sp>
    </p:spTree>
    <p:extLst>
      <p:ext uri="{BB962C8B-B14F-4D97-AF65-F5344CB8AC3E}">
        <p14:creationId xmlns:p14="http://schemas.microsoft.com/office/powerpoint/2010/main" val="19674432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23229" y="1762338"/>
            <a:ext cx="3745542" cy="2308920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Leipää taivaasta tuot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meille itsesi annat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anasta elämän voimaa jaat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halki kuoleman kannat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76012" y="4071258"/>
            <a:ext cx="1292759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59:2</a:t>
            </a:r>
          </a:p>
        </p:txBody>
      </p:sp>
    </p:spTree>
    <p:extLst>
      <p:ext uri="{BB962C8B-B14F-4D97-AF65-F5344CB8AC3E}">
        <p14:creationId xmlns:p14="http://schemas.microsoft.com/office/powerpoint/2010/main" val="8200199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86729" y="1762338"/>
            <a:ext cx="3418542" cy="2308920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Leipää merien taa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eikö kaikille yllä?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Kristityt, Isämme leivästä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heille riittäisi kyllä!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12512" y="4071258"/>
            <a:ext cx="1292759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59:4</a:t>
            </a:r>
          </a:p>
        </p:txBody>
      </p:sp>
    </p:spTree>
    <p:extLst>
      <p:ext uri="{BB962C8B-B14F-4D97-AF65-F5344CB8AC3E}">
        <p14:creationId xmlns:p14="http://schemas.microsoft.com/office/powerpoint/2010/main" val="17542555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23229" y="1762338"/>
            <a:ext cx="3745542" cy="2308920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Suo meidän kasvaa uskossa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toivossa, rakkaudessa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pois perkaa vanha hapatus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 anna Hengen uudistus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76012" y="4071258"/>
            <a:ext cx="1292759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95:7</a:t>
            </a:r>
          </a:p>
        </p:txBody>
      </p:sp>
    </p:spTree>
    <p:extLst>
      <p:ext uri="{BB962C8B-B14F-4D97-AF65-F5344CB8AC3E}">
        <p14:creationId xmlns:p14="http://schemas.microsoft.com/office/powerpoint/2010/main" val="32014866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64957" y="391885"/>
            <a:ext cx="3462085" cy="4463143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Oi Kristus, leipä makea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nyt tule leiväksemme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Pois perkaa hapantaikina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pois saasta sydäntemme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Anna meille itsesi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aina sielun ruoaksi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niin elämme. Halleluja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halleluja!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34283" y="4855028"/>
            <a:ext cx="1292759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96:7</a:t>
            </a:r>
          </a:p>
        </p:txBody>
      </p:sp>
    </p:spTree>
    <p:extLst>
      <p:ext uri="{BB962C8B-B14F-4D97-AF65-F5344CB8AC3E}">
        <p14:creationId xmlns:p14="http://schemas.microsoft.com/office/powerpoint/2010/main" val="821764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42460" y="1618456"/>
            <a:ext cx="3907079" cy="2293030"/>
          </a:xfrm>
        </p:spPr>
        <p:txBody>
          <a:bodyPr>
            <a:norm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Kun tuomme armon alttarille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ydämet köyhät uhrina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Hän lapsillensa kaipaaville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kirkastaa rakkaat kasvonsa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37037" y="3911486"/>
            <a:ext cx="1412502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199:2</a:t>
            </a:r>
          </a:p>
        </p:txBody>
      </p:sp>
    </p:spTree>
    <p:extLst>
      <p:ext uri="{BB962C8B-B14F-4D97-AF65-F5344CB8AC3E}">
        <p14:creationId xmlns:p14="http://schemas.microsoft.com/office/powerpoint/2010/main" val="10867717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Suomen Lähetysseura">
      <a:dk1>
        <a:srgbClr val="0C0C0C"/>
      </a:dk1>
      <a:lt1>
        <a:srgbClr val="FFFFFF"/>
      </a:lt1>
      <a:dk2>
        <a:srgbClr val="F53246"/>
      </a:dk2>
      <a:lt2>
        <a:srgbClr val="E7E6E6"/>
      </a:lt2>
      <a:accent1>
        <a:srgbClr val="F53246"/>
      </a:accent1>
      <a:accent2>
        <a:srgbClr val="90397B"/>
      </a:accent2>
      <a:accent3>
        <a:srgbClr val="1179A6"/>
      </a:accent3>
      <a:accent4>
        <a:srgbClr val="93CB81"/>
      </a:accent4>
      <a:accent5>
        <a:srgbClr val="F3DF0E"/>
      </a:accent5>
      <a:accent6>
        <a:srgbClr val="FBAFB6"/>
      </a:accent6>
      <a:hlink>
        <a:srgbClr val="0C5272"/>
      </a:hlink>
      <a:folHlink>
        <a:srgbClr val="FBAFB6"/>
      </a:folHlink>
    </a:clrScheme>
    <a:fontScheme name="Mukautettu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ähetysseura_16-9_FIN_malli" id="{96B25E20-5BB7-4816-A895-B7AD00EE9CEC}" vid="{882246F9-928B-42F2-A3E3-31DC8D9B27D3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78</TotalTime>
  <Words>1013</Words>
  <Application>Microsoft Office PowerPoint</Application>
  <PresentationFormat>Laajakuva</PresentationFormat>
  <Paragraphs>251</Paragraphs>
  <Slides>45</Slides>
  <Notes>2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45</vt:i4>
      </vt:variant>
    </vt:vector>
  </HeadingPairs>
  <TitlesOfParts>
    <vt:vector size="51" baseType="lpstr">
      <vt:lpstr>-apple-system</vt:lpstr>
      <vt:lpstr>Arial</vt:lpstr>
      <vt:lpstr>Calibri</vt:lpstr>
      <vt:lpstr>Gabriola</vt:lpstr>
      <vt:lpstr>Office-teema</vt:lpstr>
      <vt:lpstr>think-cell Slide</vt:lpstr>
      <vt:lpstr>Yhteinen leipämme - virret</vt:lpstr>
      <vt:lpstr>Virret</vt:lpstr>
      <vt:lpstr>Virsi 12:5</vt:lpstr>
      <vt:lpstr>Virsi 46:6</vt:lpstr>
      <vt:lpstr>Virsi 59:2</vt:lpstr>
      <vt:lpstr>Virsi 59:4</vt:lpstr>
      <vt:lpstr>Virsi 95:7</vt:lpstr>
      <vt:lpstr>Virsi 96:7</vt:lpstr>
      <vt:lpstr>Virsi 199:2</vt:lpstr>
      <vt:lpstr>Virsi 203:9a</vt:lpstr>
      <vt:lpstr>Virsi 220:5</vt:lpstr>
      <vt:lpstr>Virsi 300:2</vt:lpstr>
      <vt:lpstr>Virsi 231:1</vt:lpstr>
      <vt:lpstr>Virsi 365:6</vt:lpstr>
      <vt:lpstr>Virsi 366:1</vt:lpstr>
      <vt:lpstr>Virsi 375:1</vt:lpstr>
      <vt:lpstr>Virsi 384:4b</vt:lpstr>
      <vt:lpstr>Virsi 391:9</vt:lpstr>
      <vt:lpstr>Virsi 416:3</vt:lpstr>
      <vt:lpstr>Virsi 417:1</vt:lpstr>
      <vt:lpstr>Virsi 441:4</vt:lpstr>
      <vt:lpstr>Virsi 465:3</vt:lpstr>
      <vt:lpstr>Virsi 473:1a</vt:lpstr>
      <vt:lpstr>Virsi 475:3</vt:lpstr>
      <vt:lpstr>Virsi 476:4</vt:lpstr>
      <vt:lpstr>Virsi 494:2</vt:lpstr>
      <vt:lpstr>Virsi 521:7a</vt:lpstr>
      <vt:lpstr>Virsi 575:2</vt:lpstr>
      <vt:lpstr>Virsi 578:2a</vt:lpstr>
      <vt:lpstr>Virsi 582:5a</vt:lpstr>
      <vt:lpstr>Virsi 587:2</vt:lpstr>
      <vt:lpstr>Virsi 590:3</vt:lpstr>
      <vt:lpstr>Laula kaikki maa 29:2</vt:lpstr>
      <vt:lpstr>Laula kaikki maa 62:2</vt:lpstr>
      <vt:lpstr>Laula kaikki maa 80:1</vt:lpstr>
      <vt:lpstr>Laula kaikki maa 91:2a</vt:lpstr>
      <vt:lpstr>Laula kaikki maa 97:1</vt:lpstr>
      <vt:lpstr>Laula kaikki maa 106: 1b</vt:lpstr>
      <vt:lpstr>Laula kaikki maa 106:2</vt:lpstr>
      <vt:lpstr>Laula kaikki maa 119:3b</vt:lpstr>
      <vt:lpstr>Laula kaikki maa 178a</vt:lpstr>
      <vt:lpstr>PowerPoint-esitys</vt:lpstr>
      <vt:lpstr>Jokapäiväinen leipämme:</vt:lpstr>
      <vt:lpstr>PowerPoint-esitys</vt:lpstr>
      <vt:lpstr>TASAUS,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Peltonen Anna</dc:creator>
  <cp:lastModifiedBy>Elo Kirsi</cp:lastModifiedBy>
  <cp:revision>130</cp:revision>
  <dcterms:created xsi:type="dcterms:W3CDTF">2021-03-29T12:00:14Z</dcterms:created>
  <dcterms:modified xsi:type="dcterms:W3CDTF">2022-09-19T09:58:24Z</dcterms:modified>
</cp:coreProperties>
</file>